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14"/>
  </p:notesMasterIdLst>
  <p:sldIdLst>
    <p:sldId id="256" r:id="rId5"/>
    <p:sldId id="412" r:id="rId6"/>
    <p:sldId id="413" r:id="rId7"/>
    <p:sldId id="403" r:id="rId8"/>
    <p:sldId id="415" r:id="rId9"/>
    <p:sldId id="395" r:id="rId10"/>
    <p:sldId id="416" r:id="rId11"/>
    <p:sldId id="417" r:id="rId12"/>
    <p:sldId id="418" r:id="rId13"/>
  </p:sldIdLst>
  <p:sldSz cx="9144000" cy="6858000" type="screen4x3"/>
  <p:notesSz cx="6858000" cy="9144000"/>
  <p:custDataLst>
    <p:tags r:id="rId15"/>
  </p:custDataLst>
  <p:defaultTextStyle>
    <a:defPPr>
      <a:defRPr lang="ro-R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ostelP" initials="C" lastIdx="2" clrIdx="0"/>
  <p:cmAuthor id="2" name="Adi" initials="A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27" autoAdjust="0"/>
    <p:restoredTop sz="95226" autoAdjust="0"/>
  </p:normalViewPr>
  <p:slideViewPr>
    <p:cSldViewPr snapToGrid="0">
      <p:cViewPr>
        <p:scale>
          <a:sx n="75" d="100"/>
          <a:sy n="75" d="100"/>
        </p:scale>
        <p:origin x="1930" y="178"/>
      </p:cViewPr>
      <p:guideLst>
        <p:guide orient="horz" pos="2160"/>
        <p:guide pos="2880"/>
      </p:guideLst>
    </p:cSldViewPr>
  </p:slideViewPr>
  <p:notesTextViewPr>
    <p:cViewPr>
      <p:scale>
        <a:sx n="400" d="100"/>
        <a:sy n="4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7" d="100"/>
          <a:sy n="67" d="100"/>
        </p:scale>
        <p:origin x="3120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onciog, Daniel" userId="1afe2979-577e-4a97-aac7-c6b82b5c2700" providerId="ADAL" clId="{B822E128-3364-4BC2-A62E-72DA18FF98EE}"/>
    <pc:docChg chg="modSld">
      <pc:chgData name="Bonciog, Daniel" userId="1afe2979-577e-4a97-aac7-c6b82b5c2700" providerId="ADAL" clId="{B822E128-3364-4BC2-A62E-72DA18FF98EE}" dt="2023-04-21T07:01:30.285" v="0"/>
      <pc:docMkLst>
        <pc:docMk/>
      </pc:docMkLst>
      <pc:sldChg chg="modSp mod">
        <pc:chgData name="Bonciog, Daniel" userId="1afe2979-577e-4a97-aac7-c6b82b5c2700" providerId="ADAL" clId="{B822E128-3364-4BC2-A62E-72DA18FF98EE}" dt="2023-04-21T07:01:30.285" v="0"/>
        <pc:sldMkLst>
          <pc:docMk/>
          <pc:sldMk cId="3450912771" sldId="256"/>
        </pc:sldMkLst>
        <pc:spChg chg="mod">
          <ac:chgData name="Bonciog, Daniel" userId="1afe2979-577e-4a97-aac7-c6b82b5c2700" providerId="ADAL" clId="{B822E128-3364-4BC2-A62E-72DA18FF98EE}" dt="2023-04-21T07:01:30.285" v="0"/>
          <ac:spMkLst>
            <pc:docMk/>
            <pc:sldMk cId="3450912771" sldId="256"/>
            <ac:spMk id="2" creationId="{00000000-0000-0000-0000-00000000000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AC9BA6-90AD-4650-BF55-C3874181A1AC}" type="datetimeFigureOut">
              <a:rPr lang="en-US" smtClean="0"/>
              <a:pPr/>
              <a:t>4/14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C8C55C-A10A-4E48-A159-E455950CB69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97231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C8C55C-A10A-4E48-A159-E455950CB699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67400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C8C55C-A10A-4E48-A159-E455950CB699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43285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079F33-A95A-410B-9629-E8B81F83F58B}" type="datetime1">
              <a:rPr lang="ro-RO" smtClean="0"/>
              <a:pPr/>
              <a:t>14.04.2024</a:t>
            </a:fld>
            <a:endParaRPr lang="ro-R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/>
              <a:t>Ing. Adrian Petru BUT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B21AC-CB3B-4874-AC82-090943AE4F9F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15472085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0A78D-3364-4538-B410-00066B0D8834}" type="datetime1">
              <a:rPr lang="ro-RO" smtClean="0"/>
              <a:pPr/>
              <a:t>14.04.2024</a:t>
            </a:fld>
            <a:endParaRPr lang="ro-R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/>
              <a:t>Ing. Adrian Petru BUT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B21AC-CB3B-4874-AC82-090943AE4F9F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19826675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708FA9-A313-43AA-9237-9EC616644550}" type="datetime1">
              <a:rPr lang="ro-RO" smtClean="0"/>
              <a:pPr/>
              <a:t>14.04.2024</a:t>
            </a:fld>
            <a:endParaRPr lang="ro-R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/>
              <a:t>Ing. Adrian Petru BUT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B21AC-CB3B-4874-AC82-090943AE4F9F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1860669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AD11B9-0F4C-4A59-8124-DF29288C60EC}" type="datetime1">
              <a:rPr lang="ro-RO" smtClean="0"/>
              <a:pPr/>
              <a:t>14.04.2024</a:t>
            </a:fld>
            <a:endParaRPr lang="ro-R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/>
              <a:t>Ing. Adrian Petru BUT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B21AC-CB3B-4874-AC82-090943AE4F9F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39435889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161CD0-FFD5-4B78-9CC0-58E27F0B55EF}" type="datetime1">
              <a:rPr lang="ro-RO" smtClean="0"/>
              <a:pPr/>
              <a:t>14.04.2024</a:t>
            </a:fld>
            <a:endParaRPr lang="ro-R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/>
              <a:t>Ing. Adrian Petru BUT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B21AC-CB3B-4874-AC82-090943AE4F9F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40234710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9D495-9C00-415E-8507-5125C763CB96}" type="datetime1">
              <a:rPr lang="ro-RO" smtClean="0"/>
              <a:pPr/>
              <a:t>14.04.2024</a:t>
            </a:fld>
            <a:endParaRPr lang="ro-R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/>
              <a:t>Ing. Adrian Petru BUTA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B21AC-CB3B-4874-AC82-090943AE4F9F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25245034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B675C1-C263-446D-8BCA-A444F3216CD1}" type="datetime1">
              <a:rPr lang="ro-RO" smtClean="0"/>
              <a:pPr/>
              <a:t>14.04.2024</a:t>
            </a:fld>
            <a:endParaRPr lang="ro-RO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/>
              <a:t>Ing. Adrian Petru BUTA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B21AC-CB3B-4874-AC82-090943AE4F9F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3317878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2A14EB-127B-42F0-B813-8A22A844C287}" type="datetime1">
              <a:rPr lang="ro-RO" smtClean="0"/>
              <a:pPr/>
              <a:t>14.04.2024</a:t>
            </a:fld>
            <a:endParaRPr lang="ro-R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/>
              <a:t>Ing. Adrian Petru BUT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B21AC-CB3B-4874-AC82-090943AE4F9F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28232097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5E5F5-64D2-4FCF-9260-9BFB10D9ADA0}" type="datetime1">
              <a:rPr lang="ro-RO" smtClean="0"/>
              <a:pPr/>
              <a:t>14.04.2024</a:t>
            </a:fld>
            <a:endParaRPr lang="ro-RO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/>
              <a:t>Ing. Adrian Petru BU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B21AC-CB3B-4874-AC82-090943AE4F9F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20994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F25D9-DE6F-4515-8C39-F2DCE77438E4}" type="datetime1">
              <a:rPr lang="ro-RO" smtClean="0"/>
              <a:pPr/>
              <a:t>14.04.2024</a:t>
            </a:fld>
            <a:endParaRPr lang="ro-R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/>
              <a:t>Ing. Adrian Petru BUTA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B21AC-CB3B-4874-AC82-090943AE4F9F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5847660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287071-4F86-4669-96AF-972B57005689}" type="datetime1">
              <a:rPr lang="ro-RO" smtClean="0"/>
              <a:pPr/>
              <a:t>14.04.2024</a:t>
            </a:fld>
            <a:endParaRPr lang="ro-R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/>
              <a:t>Ing. Adrian Petru BUTA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B21AC-CB3B-4874-AC82-090943AE4F9F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28381431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033CD3-BE0A-4AD4-9C5D-C0EBE8F022BC}" type="datetime1">
              <a:rPr lang="ro-RO" smtClean="0"/>
              <a:pPr/>
              <a:t>14.04.2024</a:t>
            </a:fld>
            <a:endParaRPr lang="ro-R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o-RO"/>
              <a:t>Ing. Adrian Petru BUT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FB21AC-CB3B-4874-AC82-090943AE4F9F}" type="slidenum">
              <a:rPr lang="ro-RO" smtClean="0"/>
              <a:pPr/>
              <a:t>‹#›</a:t>
            </a:fld>
            <a:endParaRPr lang="ro-RO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E23882-4248-470F-9133-11609B37FC9E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4309237" y="6736080"/>
            <a:ext cx="369888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ctr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612660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60377" y="3429000"/>
            <a:ext cx="4150659" cy="3115235"/>
          </a:xfrm>
          <a:noFill/>
        </p:spPr>
        <p:txBody>
          <a:bodyPr anchor="t">
            <a:noAutofit/>
          </a:bodyPr>
          <a:lstStyle/>
          <a:p>
            <a:r>
              <a:rPr lang="en-US" sz="3600" b="1" dirty="0" err="1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Dispozitive</a:t>
            </a:r>
            <a:r>
              <a:rPr lang="en-US" sz="3600" b="1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3600" b="1" dirty="0" err="1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Electronice</a:t>
            </a:r>
            <a:r>
              <a:rPr lang="en-US" sz="3600" b="1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3600" b="1" dirty="0" err="1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și</a:t>
            </a:r>
            <a:r>
              <a:rPr lang="en-US" sz="3600" b="1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3600" b="1" dirty="0" err="1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Măsurări</a:t>
            </a:r>
            <a:br>
              <a:rPr lang="en-US" sz="3600" b="1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</a:br>
            <a:br>
              <a:rPr lang="en-US" sz="3600" b="1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</a:br>
            <a:r>
              <a:rPr lang="en-US" sz="3200" b="1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  </a:t>
            </a:r>
            <a:r>
              <a:rPr lang="ro-RO" sz="3200" b="1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Osciloscopul digital – partea 1</a:t>
            </a:r>
            <a:br>
              <a:rPr lang="en-US" sz="3600" b="1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</a:br>
            <a:br>
              <a:rPr lang="en-US" sz="3600" b="1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</a:br>
            <a:endParaRPr lang="ro-RO" sz="3600" b="1" dirty="0">
              <a:solidFill>
                <a:srgbClr val="00206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09127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8CAA28-AD61-4C37-8716-86E61BFA9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FB21AC-CB3B-4874-AC82-090943AE4F9F}" type="slidenum">
              <a:rPr kumimoji="0" lang="ro-RO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o-RO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7BA278F3-C68C-4D73-8505-AB2C9E4C7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869785"/>
          </a:xfrm>
        </p:spPr>
        <p:txBody>
          <a:bodyPr/>
          <a:lstStyle/>
          <a:p>
            <a:r>
              <a:rPr lang="ro-RO" sz="3600" b="1" dirty="0">
                <a:latin typeface="Arial" panose="020B0604020202020204" pitchFamily="34" charset="0"/>
                <a:cs typeface="Arial" panose="020B0604020202020204" pitchFamily="34" charset="0"/>
              </a:rPr>
              <a:t>Osciloscopul:</a:t>
            </a:r>
          </a:p>
        </p:txBody>
      </p:sp>
      <p:sp>
        <p:nvSpPr>
          <p:cNvPr id="12" name="Content Placeholder 15">
            <a:extLst>
              <a:ext uri="{FF2B5EF4-FFF2-40B4-BE49-F238E27FC236}">
                <a16:creationId xmlns:a16="http://schemas.microsoft.com/office/drawing/2014/main" id="{164338BC-B87F-417D-9422-8E56694A81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4578" y="1385311"/>
            <a:ext cx="5846792" cy="3866212"/>
          </a:xfrm>
        </p:spPr>
        <p:txBody>
          <a:bodyPr anchor="t">
            <a:noAutofit/>
          </a:bodyPr>
          <a:lstStyle/>
          <a:p>
            <a:pPr marL="0" indent="0">
              <a:buNone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Osciloscopul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=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un aparat electronic de măsură care servește la observarea și măsurarea unui semnal de tensiune electrică cu variație (frecvență) constantă, sau a mai multor semnale simultane de tensiune ce evoluează discret;</a:t>
            </a:r>
          </a:p>
          <a:p>
            <a:pPr marL="0" indent="0">
              <a:buNone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o-RO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În funcție d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modul în care se face prelucrarea semnalelor, osciloscoapele pot fi:</a:t>
            </a:r>
          </a:p>
          <a:p>
            <a:pPr marL="0" indent="0"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		- </a:t>
            </a: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analogice (osciloscopul ”clasic”);</a:t>
            </a:r>
          </a:p>
          <a:p>
            <a:pPr marL="0" indent="0"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		- </a:t>
            </a: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digitale – semnalul este digitizat (transformat în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formă numerică), iar apoi poate fi stocat, prelucrat și afișat (deci, implicit este cu memorie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8670077-F42A-4949-B654-A9B39E9049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1370" y="365127"/>
            <a:ext cx="3132629" cy="1892882"/>
          </a:xfrm>
          <a:prstGeom prst="rect">
            <a:avLst/>
          </a:prstGeom>
        </p:spPr>
      </p:pic>
      <p:pic>
        <p:nvPicPr>
          <p:cNvPr id="2050" name="Picture 2" descr="Teledyne LeCroy Oscilloscopes | Digikey">
            <a:extLst>
              <a:ext uri="{FF2B5EF4-FFF2-40B4-BE49-F238E27FC236}">
                <a16:creationId xmlns:a16="http://schemas.microsoft.com/office/drawing/2014/main" id="{4514A68C-F137-492D-ABD0-FF03291CEC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370" y="3575832"/>
            <a:ext cx="3132629" cy="2714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C2956D7-46B6-46A5-A680-D003E0EAAEAC}"/>
              </a:ext>
            </a:extLst>
          </p:cNvPr>
          <p:cNvSpPr/>
          <p:nvPr/>
        </p:nvSpPr>
        <p:spPr>
          <a:xfrm>
            <a:off x="164578" y="2552734"/>
            <a:ext cx="897942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	       </a:t>
            </a: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olosind pentru asta în mod uzual un câmp grafic vizualizator (ecran), unde axa 'X'-lor (abscisa) este axa timpului</a:t>
            </a: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ar axa 'Y'-lor (ordonata) este axa reprezentării amplitudinilor semnalelor de măsurat (observat).</a:t>
            </a:r>
            <a:endParaRPr lang="ro-RO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82462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8CAA28-AD61-4C37-8716-86E61BFA9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FB21AC-CB3B-4874-AC82-090943AE4F9F}" type="slidenum">
              <a:rPr kumimoji="0" lang="ro-RO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o-RO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7BA278F3-C68C-4D73-8505-AB2C9E4C7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869785"/>
          </a:xfrm>
        </p:spPr>
        <p:txBody>
          <a:bodyPr/>
          <a:lstStyle/>
          <a:p>
            <a:r>
              <a:rPr lang="ro-RO" sz="3600" b="1" dirty="0">
                <a:latin typeface="Arial" panose="020B0604020202020204" pitchFamily="34" charset="0"/>
                <a:cs typeface="Arial" panose="020B0604020202020204" pitchFamily="34" charset="0"/>
              </a:rPr>
              <a:t>Osciloscopul:</a:t>
            </a:r>
          </a:p>
        </p:txBody>
      </p:sp>
      <p:sp>
        <p:nvSpPr>
          <p:cNvPr id="12" name="Content Placeholder 15">
            <a:extLst>
              <a:ext uri="{FF2B5EF4-FFF2-40B4-BE49-F238E27FC236}">
                <a16:creationId xmlns:a16="http://schemas.microsoft.com/office/drawing/2014/main" id="{164338BC-B87F-417D-9422-8E56694A81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268" y="1234911"/>
            <a:ext cx="8839463" cy="2165861"/>
          </a:xfrm>
        </p:spPr>
        <p:txBody>
          <a:bodyPr anchor="t">
            <a:noAutofit/>
          </a:bodyPr>
          <a:lstStyle/>
          <a:p>
            <a:pPr marL="0" indent="0">
              <a:buNone/>
            </a:pPr>
            <a:r>
              <a:rPr lang="ro-RO" sz="1800" dirty="0"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rintre parametrii cei mai importanți ai semnalelor electrice care se pot măsura sunt:</a:t>
            </a:r>
          </a:p>
          <a:p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perioada sau frecvența semnalelor periodice;</a:t>
            </a:r>
          </a:p>
          <a:p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timpul de creștere sau descreștere al unui puls, de la un nivel dat la altul;</a:t>
            </a:r>
          </a:p>
          <a:p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întarzierea relativă a două semnale;</a:t>
            </a:r>
          </a:p>
          <a:p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durata unui puls;</a:t>
            </a:r>
          </a:p>
          <a:p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factorul de umplere al unui semnal (tren de impulsuri) dreptunghiular.</a:t>
            </a:r>
          </a:p>
          <a:p>
            <a:endParaRPr lang="ro-RO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B74A358-2604-4587-934F-844C885B11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8637" y="3332370"/>
            <a:ext cx="5626360" cy="3389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63427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1DD010DA-79AD-43DC-9E8B-B4DE6E9533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1984" y="6434138"/>
            <a:ext cx="4648200" cy="20955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8CAA28-AD61-4C37-8716-86E61BFA9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FB21AC-CB3B-4874-AC82-090943AE4F9F}" type="slidenum">
              <a:rPr kumimoji="0" lang="ro-RO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o-RO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2443E8F5-161F-4D8D-9467-62CA44514C8E}"/>
              </a:ext>
            </a:extLst>
          </p:cNvPr>
          <p:cNvSpPr txBox="1">
            <a:spLocks/>
          </p:cNvSpPr>
          <p:nvPr/>
        </p:nvSpPr>
        <p:spPr>
          <a:xfrm>
            <a:off x="164481" y="1"/>
            <a:ext cx="2982297" cy="16534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o-RO" sz="3600" b="1" dirty="0">
                <a:latin typeface="Arial" panose="020B0604020202020204" pitchFamily="34" charset="0"/>
                <a:cs typeface="Arial" panose="020B0604020202020204" pitchFamily="34" charset="0"/>
              </a:rPr>
              <a:t>Analiza unei forme de undă:</a:t>
            </a:r>
          </a:p>
        </p:txBody>
      </p:sp>
      <p:pic>
        <p:nvPicPr>
          <p:cNvPr id="3076" name="Picture 4">
            <a:extLst>
              <a:ext uri="{FF2B5EF4-FFF2-40B4-BE49-F238E27FC236}">
                <a16:creationId xmlns:a16="http://schemas.microsoft.com/office/drawing/2014/main" id="{615E735F-DFB4-4973-8ECF-AD39D4072F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1984" y="136524"/>
            <a:ext cx="5702016" cy="3421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7" name="Content Placeholder 15">
                <a:extLst>
                  <a:ext uri="{FF2B5EF4-FFF2-40B4-BE49-F238E27FC236}">
                    <a16:creationId xmlns:a16="http://schemas.microsoft.com/office/drawing/2014/main" id="{AA147769-FCD7-4016-BB2A-BD8EBDFDCF8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0" y="1653431"/>
                <a:ext cx="8848794" cy="4924651"/>
              </a:xfrm>
              <a:prstGeom prst="rect">
                <a:avLst/>
              </a:prstGeom>
            </p:spPr>
            <p:txBody>
              <a:bodyPr vert="horz" lIns="91440" tIns="45720" rIns="91440" bIns="45720" rtlCol="0" anchor="t">
                <a:noAutofit/>
              </a:bodyPr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Semnal periodic sinusoidal:</a:t>
                </a:r>
              </a:p>
              <a:p>
                <a14:m>
                  <m:oMath xmlns:m="http://schemas.openxmlformats.org/officeDocument/2006/math">
                    <m:r>
                      <a:rPr lang="ro-RO" sz="1200" i="1">
                        <a:latin typeface="Cambria Math" panose="02040503050406030204" pitchFamily="18" charset="0"/>
                      </a:rPr>
                      <m:t>𝑥</m:t>
                    </m:r>
                    <m:d>
                      <m:dPr>
                        <m:ctrlPr>
                          <a:rPr lang="en-US" sz="12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o-RO" sz="1200" i="1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</m:d>
                    <m:r>
                      <a:rPr lang="ro-RO" sz="1200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ro-RO" sz="1200" i="1">
                        <a:latin typeface="Cambria Math" panose="02040503050406030204" pitchFamily="18" charset="0"/>
                      </a:rPr>
                      <m:t>𝐴</m:t>
                    </m:r>
                    <m:r>
                      <a:rPr lang="ro-RO" sz="1200" i="1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ro-RO" sz="1200">
                        <a:latin typeface="Cambria Math" panose="02040503050406030204" pitchFamily="18" charset="0"/>
                      </a:rPr>
                      <m:t>sin</m:t>
                    </m:r>
                    <m:r>
                      <a:rPr lang="ro-RO" sz="1200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ro-RO" sz="1200" i="1">
                        <a:latin typeface="Cambria Math" panose="02040503050406030204" pitchFamily="18" charset="0"/>
                      </a:rPr>
                      <m:t>𝜔</m:t>
                    </m:r>
                    <m:r>
                      <a:rPr lang="ro-RO" sz="1200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ro-RO" sz="1200" i="1">
                        <a:latin typeface="Cambria Math" panose="02040503050406030204" pitchFamily="18" charset="0"/>
                      </a:rPr>
                      <m:t>+</m:t>
                    </m:r>
                    <m:r>
                      <a:rPr lang="ro-RO" sz="1200" i="1">
                        <a:latin typeface="Cambria Math" panose="02040503050406030204" pitchFamily="18" charset="0"/>
                      </a:rPr>
                      <m:t>𝜑</m:t>
                    </m:r>
                    <m:r>
                      <a:rPr lang="ro-RO" sz="1200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ro-RO" sz="1200" dirty="0">
                    <a:effectLst/>
                  </a:rPr>
                  <a:t> </a:t>
                </a:r>
                <a:r>
                  <a:rPr lang="en-US" sz="1200" dirty="0">
                    <a:effectLst/>
                  </a:rPr>
                  <a:t>+</a:t>
                </a:r>
                <a:r>
                  <a:rPr lang="ro-RO" sz="1200" dirty="0">
                    <a:effectLst/>
                  </a:rPr>
                  <a:t> </a:t>
                </a:r>
                <a:r>
                  <a:rPr lang="en-US" sz="1200" dirty="0">
                    <a:effectLst/>
                  </a:rPr>
                  <a:t>c</a:t>
                </a:r>
              </a:p>
              <a:p>
                <a:pPr marL="0" indent="0">
                  <a:buFont typeface="Arial" panose="020B0604020202020204" pitchFamily="34" charset="0"/>
                  <a:buNone/>
                </a:pPr>
                <a:endParaRPr lang="ro-RO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Font typeface="Arial" panose="020B0604020202020204" pitchFamily="34" charset="0"/>
                  <a:buNone/>
                </a:pPr>
                <a:endParaRPr lang="en-US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Font typeface="Arial" panose="020B0604020202020204" pitchFamily="34" charset="0"/>
                  <a:buNone/>
                </a:pPr>
                <a:endParaRPr lang="en-US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lnSpc>
                    <a:spcPct val="150000"/>
                  </a:lnSpc>
                  <a:buFont typeface="Arial" panose="020B0604020202020204" pitchFamily="34" charset="0"/>
                  <a:buNone/>
                </a:pPr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Date:</a:t>
                </a:r>
              </a:p>
              <a:p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CH1 </a:t>
                </a:r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-</a:t>
                </a:r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 vizualizare semnal.</a:t>
                </a:r>
                <a:endParaRPr lang="ro-RO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500 mV/div</a:t>
                </a:r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.</a:t>
                </a:r>
                <a:endParaRPr lang="ro-RO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AFG - generatorul de funcții arbitrare este activ (încorporat)</a:t>
                </a:r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.</a:t>
                </a:r>
                <a:endParaRPr lang="ro-RO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Sine - forma de undă</a:t>
                </a:r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.</a:t>
                </a:r>
                <a:endParaRPr lang="ro-RO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100.000kHz </a:t>
                </a:r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-</a:t>
                </a:r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 frecven</a:t>
                </a:r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ța formei de undă ( 1000.000 de cicluri în fiecare secundă)</a:t>
                </a:r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.</a:t>
                </a:r>
                <a:endParaRPr lang="ro-RO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1.000Vpp - amplitudinea formei de undă transmise</a:t>
                </a:r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.</a:t>
                </a:r>
                <a:endParaRPr lang="ro-RO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4.00 µs/div</a:t>
                </a:r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.</a:t>
                </a:r>
                <a:endParaRPr lang="ro-RO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5.00 GS/s - înregistrare ca probe pe secundă</a:t>
                </a:r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.</a:t>
                </a:r>
                <a:endParaRPr lang="ro-RO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Canal 1 - utilizat pentru a controla </a:t>
                </a:r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declanșarea formei de undă</a:t>
                </a:r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 pe marginea ascendentă (crescătoare) a formei de undă</a:t>
                </a:r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.</a:t>
                </a:r>
                <a:endParaRPr lang="ro-RO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Imaginea este centrată la T → ▼ 0,000000 s de la punctul de declanșare.</a:t>
                </a:r>
              </a:p>
              <a:p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Se vor colecta 1 milion (1 M)</a:t>
                </a:r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 de</a:t>
                </a:r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 puncte de date.</a:t>
                </a:r>
              </a:p>
              <a:p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Declanșarea</a:t>
                </a:r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 (Triggering)</a:t>
                </a:r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 are loc atunci când un semnal în creștere trece prin 0 V.</a:t>
                </a:r>
              </a:p>
              <a:p>
                <a:endParaRPr lang="en-US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7" name="Content Placeholder 15">
                <a:extLst>
                  <a:ext uri="{FF2B5EF4-FFF2-40B4-BE49-F238E27FC236}">
                    <a16:creationId xmlns:a16="http://schemas.microsoft.com/office/drawing/2014/main" id="{AA147769-FCD7-4016-BB2A-BD8EBDFDCF8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1653431"/>
                <a:ext cx="8848794" cy="4924651"/>
              </a:xfrm>
              <a:prstGeom prst="rect">
                <a:avLst/>
              </a:prstGeom>
              <a:blipFill>
                <a:blip r:embed="rId5"/>
                <a:stretch>
                  <a:fillRect t="-495" b="-248"/>
                </a:stretch>
              </a:blipFill>
            </p:spPr>
            <p:txBody>
              <a:bodyPr/>
              <a:lstStyle/>
              <a:p>
                <a:r>
                  <a:rPr lang="ro-RO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21" name="Table 21">
            <a:extLst>
              <a:ext uri="{FF2B5EF4-FFF2-40B4-BE49-F238E27FC236}">
                <a16:creationId xmlns:a16="http://schemas.microsoft.com/office/drawing/2014/main" id="{1DE2B7F4-8278-480E-BD6C-457D3D2CB2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8606859"/>
              </p:ext>
            </p:extLst>
          </p:nvPr>
        </p:nvGraphicFramePr>
        <p:xfrm>
          <a:off x="0" y="2193406"/>
          <a:ext cx="3441983" cy="792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7078">
                  <a:extLst>
                    <a:ext uri="{9D8B030D-6E8A-4147-A177-3AD203B41FA5}">
                      <a16:colId xmlns:a16="http://schemas.microsoft.com/office/drawing/2014/main" val="2460902953"/>
                    </a:ext>
                  </a:extLst>
                </a:gridCol>
                <a:gridCol w="1138334">
                  <a:extLst>
                    <a:ext uri="{9D8B030D-6E8A-4147-A177-3AD203B41FA5}">
                      <a16:colId xmlns:a16="http://schemas.microsoft.com/office/drawing/2014/main" val="3807973667"/>
                    </a:ext>
                  </a:extLst>
                </a:gridCol>
                <a:gridCol w="1426571">
                  <a:extLst>
                    <a:ext uri="{9D8B030D-6E8A-4147-A177-3AD203B41FA5}">
                      <a16:colId xmlns:a16="http://schemas.microsoft.com/office/drawing/2014/main" val="1476490624"/>
                    </a:ext>
                  </a:extLst>
                </a:gridCol>
              </a:tblGrid>
              <a:tr h="253040">
                <a:tc>
                  <a:txBody>
                    <a:bodyPr/>
                    <a:lstStyle/>
                    <a:p>
                      <a:endParaRPr lang="ro-RO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r>
                        <a:rPr lang="ro-RO" sz="1000" b="0" dirty="0">
                          <a:solidFill>
                            <a:schemeClr val="tx1"/>
                          </a:solidFill>
                        </a:rPr>
                        <a:t>Pulsația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[rad]</a:t>
                      </a:r>
                      <a:r>
                        <a:rPr lang="ro-RO" sz="1000" b="0" dirty="0">
                          <a:solidFill>
                            <a:schemeClr val="tx1"/>
                          </a:solidFill>
                        </a:rPr>
                        <a:t> – deseori numită frecvență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Componenta continu</a:t>
                      </a:r>
                      <a:r>
                        <a:rPr lang="ro-RO" sz="1000" b="0" dirty="0">
                          <a:solidFill>
                            <a:schemeClr val="tx1"/>
                          </a:solidFill>
                        </a:rPr>
                        <a:t>ă</a:t>
                      </a:r>
                    </a:p>
                    <a:p>
                      <a:pPr algn="ctr"/>
                      <a:r>
                        <a:rPr lang="ro-RO" sz="1000" b="0" dirty="0">
                          <a:solidFill>
                            <a:schemeClr val="tx1"/>
                          </a:solidFill>
                        </a:rPr>
                        <a:t>(de obicei = 0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7200376"/>
                  </a:ext>
                </a:extLst>
              </a:tr>
              <a:tr h="374288"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Amplitudinea</a:t>
                      </a:r>
                      <a:endParaRPr lang="ro-RO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81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o-RO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o-RO" sz="1000" b="0" dirty="0">
                          <a:solidFill>
                            <a:schemeClr val="tx1"/>
                          </a:solidFill>
                        </a:rPr>
                        <a:t>Defazajul (offset pe axa timpului)</a:t>
                      </a:r>
                    </a:p>
                  </a:txBody>
                  <a:tcPr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3106104"/>
                  </a:ext>
                </a:extLst>
              </a:tr>
            </a:tbl>
          </a:graphicData>
        </a:graphic>
      </p:graphicFrame>
      <p:cxnSp>
        <p:nvCxnSpPr>
          <p:cNvPr id="3082" name="Straight Arrow Connector 3081">
            <a:extLst>
              <a:ext uri="{FF2B5EF4-FFF2-40B4-BE49-F238E27FC236}">
                <a16:creationId xmlns:a16="http://schemas.microsoft.com/office/drawing/2014/main" id="{5F8402B4-6431-4A18-9C32-7081CD6E17E4}"/>
              </a:ext>
            </a:extLst>
          </p:cNvPr>
          <p:cNvCxnSpPr>
            <a:cxnSpLocks/>
          </p:cNvCxnSpPr>
          <p:nvPr/>
        </p:nvCxnSpPr>
        <p:spPr>
          <a:xfrm>
            <a:off x="1903445" y="2090769"/>
            <a:ext cx="177282" cy="102637"/>
          </a:xfrm>
          <a:prstGeom prst="straightConnector1">
            <a:avLst/>
          </a:prstGeom>
          <a:ln>
            <a:solidFill>
              <a:srgbClr val="FFFF00"/>
            </a:solidFill>
            <a:headEnd type="none" w="med" len="med"/>
            <a:tailEnd type="arrow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089" name="Connector: Curved 3088">
            <a:extLst>
              <a:ext uri="{FF2B5EF4-FFF2-40B4-BE49-F238E27FC236}">
                <a16:creationId xmlns:a16="http://schemas.microsoft.com/office/drawing/2014/main" id="{FB859442-01A1-4622-ADC7-FC3BF9C53B7E}"/>
              </a:ext>
            </a:extLst>
          </p:cNvPr>
          <p:cNvCxnSpPr>
            <a:cxnSpLocks/>
          </p:cNvCxnSpPr>
          <p:nvPr/>
        </p:nvCxnSpPr>
        <p:spPr>
          <a:xfrm>
            <a:off x="1567543" y="2193406"/>
            <a:ext cx="513184" cy="437338"/>
          </a:xfrm>
          <a:prstGeom prst="curvedConnector3">
            <a:avLst>
              <a:gd name="adj1" fmla="val 50000"/>
            </a:avLst>
          </a:prstGeom>
          <a:ln>
            <a:solidFill>
              <a:srgbClr val="FFFF00"/>
            </a:solidFill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099" name="Straight Arrow Connector 3098">
            <a:extLst>
              <a:ext uri="{FF2B5EF4-FFF2-40B4-BE49-F238E27FC236}">
                <a16:creationId xmlns:a16="http://schemas.microsoft.com/office/drawing/2014/main" id="{C8FF36BB-E216-4ED4-9EDC-39728933B8C5}"/>
              </a:ext>
            </a:extLst>
          </p:cNvPr>
          <p:cNvCxnSpPr/>
          <p:nvPr/>
        </p:nvCxnSpPr>
        <p:spPr>
          <a:xfrm>
            <a:off x="1231641" y="2140531"/>
            <a:ext cx="0" cy="271544"/>
          </a:xfrm>
          <a:prstGeom prst="straightConnector1">
            <a:avLst/>
          </a:prstGeom>
          <a:ln>
            <a:solidFill>
              <a:srgbClr val="FFFF00"/>
            </a:solidFill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101" name="Connector: Curved 3100">
            <a:extLst>
              <a:ext uri="{FF2B5EF4-FFF2-40B4-BE49-F238E27FC236}">
                <a16:creationId xmlns:a16="http://schemas.microsoft.com/office/drawing/2014/main" id="{EEF2DF8E-0063-4FEB-AC2A-5C2A1D1AE65A}"/>
              </a:ext>
            </a:extLst>
          </p:cNvPr>
          <p:cNvCxnSpPr/>
          <p:nvPr/>
        </p:nvCxnSpPr>
        <p:spPr>
          <a:xfrm rot="5400000">
            <a:off x="279128" y="2209485"/>
            <a:ext cx="463093" cy="430935"/>
          </a:xfrm>
          <a:prstGeom prst="curvedConnector3">
            <a:avLst/>
          </a:prstGeom>
          <a:ln>
            <a:solidFill>
              <a:srgbClr val="FFFF00"/>
            </a:solidFill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27514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8CAA28-AD61-4C37-8716-86E61BFA9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FB21AC-CB3B-4874-AC82-090943AE4F9F}" type="slidenum">
              <a:rPr kumimoji="0" lang="ro-RO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o-RO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076" name="Picture 4">
            <a:extLst>
              <a:ext uri="{FF2B5EF4-FFF2-40B4-BE49-F238E27FC236}">
                <a16:creationId xmlns:a16="http://schemas.microsoft.com/office/drawing/2014/main" id="{615E735F-DFB4-4973-8ECF-AD39D4072F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1984" y="136524"/>
            <a:ext cx="5702016" cy="3421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7" name="Content Placeholder 15">
                <a:extLst>
                  <a:ext uri="{FF2B5EF4-FFF2-40B4-BE49-F238E27FC236}">
                    <a16:creationId xmlns:a16="http://schemas.microsoft.com/office/drawing/2014/main" id="{AA147769-FCD7-4016-BB2A-BD8EBDFDCF8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37673" y="2390760"/>
                <a:ext cx="5990604" cy="4102115"/>
              </a:xfrm>
              <a:prstGeom prst="rect">
                <a:avLst/>
              </a:prstGeom>
            </p:spPr>
            <p:txBody>
              <a:bodyPr vert="horz" lIns="91440" tIns="45720" rIns="91440" bIns="45720" rtlCol="0" anchor="t">
                <a:noAutofit/>
              </a:bodyPr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Date colectate:</a:t>
                </a:r>
              </a:p>
              <a:p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1 diviziune = 5 subdiviziuni (0.2 x subdiviziune)</a:t>
                </a:r>
                <a:endParaRPr lang="ro-RO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500 mV/div</a:t>
                </a:r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.</a:t>
                </a:r>
                <a:endParaRPr lang="ro-RO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4.00 µs/div</a:t>
                </a:r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.</a:t>
                </a:r>
                <a:endParaRPr lang="ro-RO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r>
                  <a:rPr lang="en-US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Cerin</a:t>
                </a:r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ță: Conform cu figura din dreapta, calculați:</a:t>
                </a:r>
              </a:p>
              <a:p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Amplitudinea = A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o-RO" sz="120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ro-RO" sz="12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500 </m:t>
                        </m:r>
                        <m:r>
                          <a:rPr lang="ro-RO" sz="12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𝑚𝑉</m:t>
                        </m:r>
                      </m:num>
                      <m:den>
                        <m:r>
                          <a:rPr lang="ro-RO" sz="12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 </m:t>
                        </m:r>
                        <m:r>
                          <a:rPr lang="ro-RO" sz="12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𝑑𝑖𝑣</m:t>
                        </m:r>
                        <m:r>
                          <a:rPr lang="ro-RO" sz="12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.</m:t>
                        </m:r>
                      </m:den>
                    </m:f>
                    <m:r>
                      <a:rPr lang="ro-RO" sz="12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×</m:t>
                    </m:r>
                  </m:oMath>
                </a14:m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 2 div. = 1V</a:t>
                </a:r>
              </a:p>
              <a:p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Tensiunea vârf la vârf = Uvv = 2 </a:t>
                </a:r>
                <a14:m>
                  <m:oMath xmlns:m="http://schemas.openxmlformats.org/officeDocument/2006/math">
                    <m:r>
                      <a:rPr lang="ro-RO" sz="12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×</m:t>
                    </m:r>
                  </m:oMath>
                </a14:m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 A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o-RO" sz="12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ro-RO" sz="12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500 </m:t>
                        </m:r>
                        <m:r>
                          <a:rPr lang="ro-RO" sz="12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𝑚𝑉</m:t>
                        </m:r>
                      </m:num>
                      <m:den>
                        <m:r>
                          <a:rPr lang="ro-RO" sz="12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 </m:t>
                        </m:r>
                        <m:r>
                          <a:rPr lang="ro-RO" sz="12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𝑑𝑖𝑣</m:t>
                        </m:r>
                        <m:r>
                          <a:rPr lang="ro-RO" sz="12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.</m:t>
                        </m:r>
                      </m:den>
                    </m:f>
                    <m:r>
                      <a:rPr lang="ro-RO" sz="1200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×</m:t>
                    </m:r>
                  </m:oMath>
                </a14:m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 4 div. = 2V</a:t>
                </a:r>
              </a:p>
              <a:p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Perioada = T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o-RO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ro-RO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4.00</m:t>
                        </m:r>
                        <m:r>
                          <m:rPr>
                            <m:nor/>
                          </m:rPr>
                          <a:rPr lang="ro-RO" sz="1200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µ</m:t>
                        </m:r>
                        <m:r>
                          <m:rPr>
                            <m:nor/>
                          </m:rPr>
                          <a:rPr lang="ro-RO" sz="1200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s</m:t>
                        </m:r>
                      </m:num>
                      <m:den>
                        <m:r>
                          <a:rPr lang="ro-RO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 </m:t>
                        </m:r>
                        <m:r>
                          <a:rPr lang="ro-RO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𝑑𝑖𝑣</m:t>
                        </m:r>
                        <m:r>
                          <a:rPr lang="ro-RO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.</m:t>
                        </m:r>
                      </m:den>
                    </m:f>
                    <m:r>
                      <a:rPr lang="ro-RO" sz="12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  <m:r>
                      <a:rPr lang="ro-RO" sz="1200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×</m:t>
                    </m:r>
                  </m:oMath>
                </a14:m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 2.5 div. = 10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ro-RO" sz="1200" dirty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µ</m:t>
                    </m:r>
                    <m:r>
                      <m:rPr>
                        <m:nor/>
                      </m:rPr>
                      <a:rPr lang="ro-RO" sz="1200" dirty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s</m:t>
                    </m:r>
                  </m:oMath>
                </a14:m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</a:p>
              <a:p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Frecvența = f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o-RO" sz="120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ro-RO" sz="12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num>
                      <m:den>
                        <m:r>
                          <a:rPr lang="ro-RO" sz="12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𝑇</m:t>
                        </m:r>
                      </m:den>
                    </m:f>
                  </m:oMath>
                </a14:m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o-RO" sz="12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ro-RO" sz="12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num>
                      <m:den>
                        <m:r>
                          <a:rPr lang="ro-RO" sz="12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0 </m:t>
                        </m:r>
                        <m:r>
                          <m:rPr>
                            <m:nor/>
                          </m:rPr>
                          <a:rPr lang="ro-RO" sz="1200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µ</m:t>
                        </m:r>
                        <m:r>
                          <m:rPr>
                            <m:nor/>
                          </m:rPr>
                          <a:rPr lang="ro-RO" sz="1200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s</m:t>
                        </m:r>
                      </m:den>
                    </m:f>
                  </m:oMath>
                </a14:m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 = 100kHz</a:t>
                </a:r>
              </a:p>
              <a:p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Valoare efectivă (Root mean square – Urms) = valoarea de curent continuu care produce același efect caloric (aceeași putere consumată într-un rezistor) ca mărimea de curent alternativ luată în considerație</a:t>
                </a:r>
                <a:endParaRPr lang="ro-RO" sz="1200" i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r>
                  <a:rPr lang="ro-RO" sz="1200" dirty="0"/>
                  <a:t>	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ro-RO" sz="1200" i="1">
                            <a:latin typeface="Cambria Math" panose="02040503050406030204" pitchFamily="18" charset="0"/>
                          </a:rPr>
                          <m:t>𝑈</m:t>
                        </m:r>
                      </m:e>
                      <m:sub>
                        <m:r>
                          <a:rPr lang="ro-RO" sz="1200" i="1">
                            <a:latin typeface="Cambria Math" panose="02040503050406030204" pitchFamily="18" charset="0"/>
                          </a:rPr>
                          <m:t>𝑒𝑓</m:t>
                        </m:r>
                      </m:sub>
                    </m:sSub>
                  </m:oMath>
                </a14:m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=</a:t>
                </a:r>
                <a14:m>
                  <m:oMath xmlns:m="http://schemas.openxmlformats.org/officeDocument/2006/math">
                    <m:rad>
                      <m:radPr>
                        <m:degHide m:val="on"/>
                        <m:ctrlPr>
                          <a:rPr lang="en-US" sz="1200" i="1"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f>
                          <m:fPr>
                            <m:ctrlPr>
                              <a:rPr lang="en-US" sz="12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ro-RO" sz="12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ro-RO" sz="12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den>
                        </m:f>
                        <m:nary>
                          <m:naryPr>
                            <m:ctrlPr>
                              <a:rPr lang="en-US" sz="12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ro-RO" sz="1200" i="1">
                                <a:latin typeface="Cambria Math" panose="02040503050406030204" pitchFamily="18" charset="0"/>
                              </a:rPr>
                              <m:t>0</m:t>
                            </m:r>
                          </m:sub>
                          <m:sup>
                            <m:r>
                              <a:rPr lang="ro-RO" sz="12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  <m:e>
                            <m:sSup>
                              <m:sSupPr>
                                <m:ctrlPr>
                                  <a:rPr 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ro-RO" sz="1200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p>
                                <m:r>
                                  <a:rPr lang="ro-RO" sz="12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d>
                              <m:dPr>
                                <m:ctrlPr>
                                  <a:rPr 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ro-RO" sz="1200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</m:d>
                            <m:r>
                              <a:rPr lang="ro-RO" sz="1200" i="1"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e>
                        </m:nary>
                      </m:e>
                    </m:rad>
                  </m:oMath>
                </a14:m>
                <a:endParaRPr lang="ro-RO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r>
                  <a:rPr lang="ro-RO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    Pentru semnal sinusoidal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ro-RO" sz="1200" i="1">
                            <a:latin typeface="Cambria Math" panose="02040503050406030204" pitchFamily="18" charset="0"/>
                          </a:rPr>
                          <m:t>𝑈</m:t>
                        </m:r>
                      </m:e>
                      <m:sub>
                        <m:r>
                          <a:rPr lang="ro-RO" sz="1200" i="1">
                            <a:latin typeface="Cambria Math" panose="02040503050406030204" pitchFamily="18" charset="0"/>
                          </a:rPr>
                          <m:t>𝑒𝑓</m:t>
                        </m:r>
                      </m:sub>
                    </m:sSub>
                    <m:r>
                      <a:rPr lang="ro-RO" sz="120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sz="12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ro-RO" sz="1200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en-US" sz="1200" i="1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ro-RO" sz="12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</m:rad>
                      </m:den>
                    </m:f>
                  </m:oMath>
                </a14:m>
                <a:r>
                  <a:rPr lang="ro-RO" sz="1200" dirty="0"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12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ro-RO" sz="1200" b="0" i="1" smtClean="0"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ro-RO" sz="1200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en-US" sz="1200" i="1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ro-RO" sz="12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</m:rad>
                      </m:den>
                    </m:f>
                  </m:oMath>
                </a14:m>
                <a:r>
                  <a:rPr lang="ro-RO" sz="1200" dirty="0"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 = 1.41V</a:t>
                </a:r>
                <a:endParaRPr lang="en-US" sz="1200" dirty="0">
                  <a:effectLst/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endParaRPr lang="en-US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7" name="Content Placeholder 15">
                <a:extLst>
                  <a:ext uri="{FF2B5EF4-FFF2-40B4-BE49-F238E27FC236}">
                    <a16:creationId xmlns:a16="http://schemas.microsoft.com/office/drawing/2014/main" id="{AA147769-FCD7-4016-BB2A-BD8EBDFDCF8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37673" y="2390760"/>
                <a:ext cx="5990604" cy="4102115"/>
              </a:xfrm>
              <a:prstGeom prst="rect">
                <a:avLst/>
              </a:prstGeom>
              <a:blipFill>
                <a:blip r:embed="rId4"/>
                <a:stretch>
                  <a:fillRect l="-102" t="-594" b="-2377"/>
                </a:stretch>
              </a:blipFill>
            </p:spPr>
            <p:txBody>
              <a:bodyPr/>
              <a:lstStyle/>
              <a:p>
                <a:r>
                  <a:rPr lang="ro-RO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Picture 2">
            <a:extLst>
              <a:ext uri="{FF2B5EF4-FFF2-40B4-BE49-F238E27FC236}">
                <a16:creationId xmlns:a16="http://schemas.microsoft.com/office/drawing/2014/main" id="{D916BEF1-2E79-4C08-9EBF-C714F32ADF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64342" y="3625852"/>
            <a:ext cx="3479657" cy="2771786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CD1851BE-2E7A-4C87-B85D-6BC5492830F6}"/>
              </a:ext>
            </a:extLst>
          </p:cNvPr>
          <p:cNvSpPr txBox="1">
            <a:spLocks/>
          </p:cNvSpPr>
          <p:nvPr/>
        </p:nvSpPr>
        <p:spPr>
          <a:xfrm>
            <a:off x="164481" y="1"/>
            <a:ext cx="2982297" cy="16534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o-RO" sz="3600" b="1" dirty="0">
                <a:latin typeface="Arial" panose="020B0604020202020204" pitchFamily="34" charset="0"/>
                <a:cs typeface="Arial" panose="020B0604020202020204" pitchFamily="34" charset="0"/>
              </a:rPr>
              <a:t>Analiza unei forme de undă:</a:t>
            </a:r>
          </a:p>
        </p:txBody>
      </p:sp>
    </p:spTree>
    <p:extLst>
      <p:ext uri="{BB962C8B-B14F-4D97-AF65-F5344CB8AC3E}">
        <p14:creationId xmlns:p14="http://schemas.microsoft.com/office/powerpoint/2010/main" val="23861932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1430980-3FDB-4815-A825-FE8EA1F9FC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5643" y="6289136"/>
            <a:ext cx="2282372" cy="52387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FEAE19C-7B8E-4771-A1C8-A0982D082D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5872" y="501485"/>
            <a:ext cx="2278128" cy="120353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8CAA28-AD61-4C37-8716-86E61BFA9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FB21AC-CB3B-4874-AC82-090943AE4F9F}" type="slidenum">
              <a:rPr kumimoji="0" lang="ro-RO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o-RO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7BA278F3-C68C-4D73-8505-AB2C9E4C7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8376" y="365126"/>
            <a:ext cx="7516973" cy="869785"/>
          </a:xfrm>
        </p:spPr>
        <p:txBody>
          <a:bodyPr/>
          <a:lstStyle/>
          <a:p>
            <a:r>
              <a:rPr lang="ro-RO" sz="3600" b="1" dirty="0"/>
              <a:t>Aplicații:</a:t>
            </a:r>
            <a:endParaRPr lang="en-US" b="1" noProof="1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ontent Placeholder 15">
                <a:extLst>
                  <a:ext uri="{FF2B5EF4-FFF2-40B4-BE49-F238E27FC236}">
                    <a16:creationId xmlns:a16="http://schemas.microsoft.com/office/drawing/2014/main" id="{164338BC-B87F-417D-9422-8E56694A8189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0" y="1234911"/>
                <a:ext cx="9143999" cy="3775628"/>
              </a:xfrm>
            </p:spPr>
            <p:txBody>
              <a:bodyPr anchor="t">
                <a:noAutofit/>
              </a:bodyPr>
              <a:lstStyle/>
              <a:p>
                <a:pPr marL="342900" indent="-342900">
                  <a:buFont typeface="Arial" panose="020B0604020202020204" pitchFamily="34" charset="0"/>
                  <a:buAutoNum type="arabicPeriod"/>
                </a:pPr>
                <a:r>
                  <a:rPr lang="ro-RO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Să se construiască circuitul de mai jos în Tina, cu două generatoare de semnal sinusoidal care au următoarele valori: A =1V, offset=0, f=500Hz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l-GR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el-GR" sz="1800"/>
                          <m:t>ϴ</m:t>
                        </m:r>
                      </m:e>
                      <m:sub>
                        <m:r>
                          <a:rPr lang="ro-RO" sz="1800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ro-RO" sz="180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ro-RO" sz="1800" i="1">
                        <a:latin typeface="Cambria Math" panose="02040503050406030204" pitchFamily="18" charset="0"/>
                      </a:rPr>
                      <m:t>90°</m:t>
                    </m:r>
                  </m:oMath>
                </a14:m>
                <a:r>
                  <a:rPr lang="ro-RO" sz="1800" dirty="0"/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l-GR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el-GR" sz="1800"/>
                          <m:t>ϴ</m:t>
                        </m:r>
                      </m:e>
                      <m:sub>
                        <m:r>
                          <a:rPr lang="ro-RO" sz="1800" i="1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ro-RO" sz="1800" i="1">
                        <a:latin typeface="Cambria Math" panose="02040503050406030204" pitchFamily="18" charset="0"/>
                      </a:rPr>
                      <m:t>=145°</m:t>
                    </m:r>
                    <m:r>
                      <a:rPr lang="ro-RO" sz="1800" b="0" i="0" smtClean="0"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endParaRPr lang="ro-RO" sz="1800" dirty="0"/>
              </a:p>
              <a:p>
                <a:pPr marL="342900" indent="-342900">
                  <a:buAutoNum type="alphaLcPeriod"/>
                </a:pPr>
                <a:r>
                  <a:rPr lang="ro-RO" sz="1800" dirty="0"/>
                  <a:t>Să se vizualizeze semnalele folosind osciloscopul virtual. Ce se observă?</a:t>
                </a:r>
              </a:p>
              <a:p>
                <a:pPr marL="342900" indent="-342900">
                  <a:buAutoNum type="alphaLcPeriod"/>
                </a:pPr>
                <a:r>
                  <a:rPr lang="ro-RO" sz="1800" dirty="0"/>
                  <a:t>Folosind cursoarele, calculați diferența de fază dintre cele 2 semnale.</a:t>
                </a:r>
              </a:p>
              <a:p>
                <a:pPr marL="342900" indent="-342900">
                  <a:buAutoNum type="arabicPeriod"/>
                </a:pPr>
                <a:endParaRPr lang="ro-RO" sz="18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endParaRPr lang="ro-RO" sz="18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2" name="Content Placeholder 15">
                <a:extLst>
                  <a:ext uri="{FF2B5EF4-FFF2-40B4-BE49-F238E27FC236}">
                    <a16:creationId xmlns:a16="http://schemas.microsoft.com/office/drawing/2014/main" id="{164338BC-B87F-417D-9422-8E56694A818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0" y="1234911"/>
                <a:ext cx="9143999" cy="3775628"/>
              </a:xfrm>
              <a:blipFill>
                <a:blip r:embed="rId5"/>
                <a:stretch>
                  <a:fillRect l="-533" t="-1616"/>
                </a:stretch>
              </a:blipFill>
            </p:spPr>
            <p:txBody>
              <a:bodyPr/>
              <a:lstStyle/>
              <a:p>
                <a:r>
                  <a:rPr lang="ro-RO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Picture 6">
            <a:extLst>
              <a:ext uri="{FF2B5EF4-FFF2-40B4-BE49-F238E27FC236}">
                <a16:creationId xmlns:a16="http://schemas.microsoft.com/office/drawing/2014/main" id="{BDB2A5DF-F2BC-4190-B88D-5B9C6833E25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82278" y="2574809"/>
            <a:ext cx="4949168" cy="3766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692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1430980-3FDB-4815-A825-FE8EA1F9FC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5643" y="6289136"/>
            <a:ext cx="2282372" cy="52387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FEAE19C-7B8E-4771-A1C8-A0982D082D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5872" y="501485"/>
            <a:ext cx="2278128" cy="120353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8CAA28-AD61-4C37-8716-86E61BFA9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FB21AC-CB3B-4874-AC82-090943AE4F9F}" type="slidenum">
              <a:rPr kumimoji="0" lang="ro-RO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o-RO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7BA278F3-C68C-4D73-8505-AB2C9E4C7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8376" y="365126"/>
            <a:ext cx="7516973" cy="869785"/>
          </a:xfrm>
        </p:spPr>
        <p:txBody>
          <a:bodyPr/>
          <a:lstStyle/>
          <a:p>
            <a:r>
              <a:rPr lang="ro-RO" sz="3600" b="1" dirty="0"/>
              <a:t>Aplicații: - soluție</a:t>
            </a:r>
            <a:endParaRPr lang="en-US" b="1" noProof="1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2" name="Content Placeholder 15">
                <a:extLst>
                  <a:ext uri="{FF2B5EF4-FFF2-40B4-BE49-F238E27FC236}">
                    <a16:creationId xmlns:a16="http://schemas.microsoft.com/office/drawing/2014/main" id="{164338BC-B87F-417D-9422-8E56694A8189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0" y="1234911"/>
                <a:ext cx="9143999" cy="3775628"/>
              </a:xfrm>
            </p:spPr>
            <p:txBody>
              <a:bodyPr anchor="t">
                <a:noAutofit/>
              </a:bodyPr>
              <a:lstStyle/>
              <a:p>
                <a:pPr marL="0" indent="0">
                  <a:buNone/>
                </a:pPr>
                <a:r>
                  <a:rPr lang="ro-RO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a. </a:t>
                </a:r>
                <a:r>
                  <a:rPr lang="ro-RO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OUT2 </a:t>
                </a:r>
                <a:r>
                  <a:rPr lang="en-US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trece din alternan</a:t>
                </a:r>
                <a:r>
                  <a:rPr lang="ro-RO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ța negativă în cea pozitivă înaintea lui OUT1 </a:t>
                </a:r>
                <a:r>
                  <a:rPr lang="ro-RO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=</a:t>
                </a:r>
                <a:r>
                  <a:rPr lang="en-US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&gt; “leading” signal.</a:t>
                </a:r>
                <a:endParaRPr lang="ro-RO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r>
                  <a:rPr lang="ro-RO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b. Pentru a calcula diferența de fază între cele două semnale utilizăm cursoarele:</a:t>
                </a:r>
              </a:p>
              <a:p>
                <a:pPr>
                  <a:lnSpc>
                    <a:spcPct val="100000"/>
                  </a:lnSpc>
                </a:pPr>
                <a14:m>
                  <m:oMath xmlns:m="http://schemas.openxmlformats.org/officeDocument/2006/math">
                    <m:r>
                      <a:rPr lang="ro-RO" sz="18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∆</m:t>
                    </m:r>
                    <m:r>
                      <a:rPr lang="ro-RO" sz="18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𝑡</m:t>
                    </m:r>
                    <m:r>
                      <a:rPr lang="ro-RO" sz="18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≈…</m:t>
                    </m:r>
                    <m:r>
                      <a:rPr lang="ro-RO" sz="18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𝜇</m:t>
                    </m:r>
                    <m:r>
                      <a:rPr lang="ro-RO" sz="18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𝑠</m:t>
                    </m:r>
                  </m:oMath>
                </a14:m>
                <a:r>
                  <a:rPr lang="el-GR" sz="1800" dirty="0">
                    <a:ea typeface="Cambria Math" panose="02040503050406030204" pitchFamily="18" charset="0"/>
                  </a:rPr>
                  <a:t> </a:t>
                </a:r>
                <a:r>
                  <a:rPr lang="en-US" sz="1800" dirty="0">
                    <a:ea typeface="Cambria Math" panose="02040503050406030204" pitchFamily="18" charset="0"/>
                  </a:rPr>
                  <a:t>                                    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18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θ</m:t>
                    </m:r>
                    <m:r>
                      <m:rPr>
                        <m:nor/>
                      </m:rPr>
                      <a:rPr lang="ro-RO" sz="1800"/>
                      <m:t>=</m:t>
                    </m:r>
                    <m:f>
                      <m:fPr>
                        <m:ctrlPr>
                          <a:rPr lang="ro-RO" sz="18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ro-RO" sz="1800" i="1">
                            <a:latin typeface="Cambria Math" panose="02040503050406030204" pitchFamily="18" charset="0"/>
                          </a:rPr>
                          <m:t>∆</m:t>
                        </m:r>
                        <m:r>
                          <a:rPr lang="ro-RO" sz="1800" i="1">
                            <a:latin typeface="Cambria Math" panose="02040503050406030204" pitchFamily="18" charset="0"/>
                          </a:rPr>
                          <m:t>𝑡</m:t>
                        </m:r>
                      </m:num>
                      <m:den>
                        <m:r>
                          <a:rPr lang="ro-RO" sz="1800" i="1">
                            <a:latin typeface="Cambria Math" panose="02040503050406030204" pitchFamily="18" charset="0"/>
                          </a:rPr>
                          <m:t>𝑇</m:t>
                        </m:r>
                      </m:den>
                    </m:f>
                    <m:r>
                      <a:rPr lang="ro-RO" sz="18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r>
                      <a:rPr lang="ro-RO" sz="1800" i="1">
                        <a:latin typeface="Cambria Math" panose="02040503050406030204" pitchFamily="18" charset="0"/>
                      </a:rPr>
                      <m:t>360°=</m:t>
                    </m:r>
                    <m:r>
                      <a:rPr lang="ro-RO" sz="18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ro-RO" sz="18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𝑡</m:t>
                    </m:r>
                    <m:r>
                      <a:rPr lang="ro-RO" sz="18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r>
                      <a:rPr lang="ro-RO" sz="18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2</m:t>
                    </m:r>
                    <m:r>
                      <a:rPr lang="ro-RO" sz="18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𝜋</m:t>
                    </m:r>
                    <m:r>
                      <a:rPr lang="ro-RO" sz="18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𝑓</m:t>
                    </m:r>
                    <m:r>
                      <a:rPr lang="en-US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 </m:t>
                    </m:r>
                    <m:d>
                      <m:dPr>
                        <m:begChr m:val="["/>
                        <m:endChr m:val="]"/>
                        <m:ctrlP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𝑟𝑎𝑑</m:t>
                        </m:r>
                      </m:e>
                    </m:d>
                  </m:oMath>
                </a14:m>
                <a:endParaRPr lang="ro-RO" sz="18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>
                  <a:lnSpc>
                    <a:spcPct val="100000"/>
                  </a:lnSpc>
                </a:pPr>
                <a:r>
                  <a:rPr lang="ro-RO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f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o-RO" sz="180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ro-RO" sz="18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num>
                      <m:den>
                        <m:r>
                          <a:rPr lang="ro-RO" sz="18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𝑇</m:t>
                        </m:r>
                      </m:den>
                    </m:f>
                  </m:oMath>
                </a14:m>
                <a:r>
                  <a:rPr lang="ro-RO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 =</a:t>
                </a:r>
                <a:r>
                  <a:rPr lang="en-US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&gt; T </a:t>
                </a:r>
                <a14:m>
                  <m:oMath xmlns:m="http://schemas.openxmlformats.org/officeDocument/2006/math">
                    <m:r>
                      <a:rPr lang="en-US" sz="1800" b="0" i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f>
                      <m:fPr>
                        <m:ctrlPr>
                          <a:rPr lang="ro-RO" sz="18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ro-RO" sz="18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num>
                      <m:den>
                        <m:r>
                          <a:rPr lang="en-US" sz="18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500</m:t>
                        </m:r>
                        <m:r>
                          <a:rPr lang="en-US" sz="18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𝐻𝑧</m:t>
                        </m:r>
                      </m:den>
                    </m:f>
                  </m:oMath>
                </a14:m>
                <a:r>
                  <a:rPr lang="ro-RO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 = </a:t>
                </a:r>
                <a:r>
                  <a:rPr lang="en-US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….ms           </a:t>
                </a:r>
                <a14:m>
                  <m:oMath xmlns:m="http://schemas.openxmlformats.org/officeDocument/2006/math">
                    <m:r>
                      <a:rPr lang="ro-RO" sz="1800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𝜃</m:t>
                    </m:r>
                    <m:r>
                      <a:rPr lang="en-US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  <m:r>
                      <a:rPr lang="ro-RO" sz="1800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≅</m:t>
                    </m:r>
                    <m:r>
                      <a:rPr lang="en-US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…</m:t>
                    </m:r>
                    <m:r>
                      <a:rPr lang="ro-RO" sz="1800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° </m:t>
                    </m:r>
                    <m:r>
                      <a:rPr lang="ro-RO" sz="1800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𝑠𝑎𝑢</m:t>
                    </m:r>
                    <m:r>
                      <a:rPr lang="ro-RO" sz="1800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 ….</m:t>
                    </m:r>
                    <m:d>
                      <m:dPr>
                        <m:begChr m:val="["/>
                        <m:endChr m:val="]"/>
                        <m:ctrlPr>
                          <a:rPr lang="en-US" sz="18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𝑟𝑎𝑑</m:t>
                        </m:r>
                      </m:e>
                    </m:d>
                    <m:r>
                      <a:rPr lang="en-US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; </m:t>
                    </m:r>
                  </m:oMath>
                </a14:m>
                <a:r>
                  <a:rPr lang="en-US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  </a:t>
                </a:r>
                <a14:m>
                  <m:oMath xmlns:m="http://schemas.openxmlformats.org/officeDocument/2006/math">
                    <a:fld id="{825F15A7-03F4-43D7-82C5-3E23DA2F108C}" type="mathplaceholder">
                      <a:rPr lang="en-US" sz="1800" i="1" dirty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a:t>Type equation here.</a:t>
                    </a:fld>
                  </m:oMath>
                </a14:m>
                <a:endParaRPr lang="ro-RO" sz="18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>
          <p:sp>
            <p:nvSpPr>
              <p:cNvPr id="12" name="Content Placeholder 15">
                <a:extLst>
                  <a:ext uri="{FF2B5EF4-FFF2-40B4-BE49-F238E27FC236}">
                    <a16:creationId xmlns:a16="http://schemas.microsoft.com/office/drawing/2014/main" id="{164338BC-B87F-417D-9422-8E56694A818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0" y="1234911"/>
                <a:ext cx="9143999" cy="3775628"/>
              </a:xfrm>
              <a:blipFill>
                <a:blip r:embed="rId5"/>
                <a:stretch>
                  <a:fillRect l="-533" t="-161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2">
            <a:extLst>
              <a:ext uri="{FF2B5EF4-FFF2-40B4-BE49-F238E27FC236}">
                <a16:creationId xmlns:a16="http://schemas.microsoft.com/office/drawing/2014/main" id="{30A203EF-59F7-413B-8414-917AB53D8C21}"/>
              </a:ext>
            </a:extLst>
          </p:cNvPr>
          <p:cNvSpPr/>
          <p:nvPr/>
        </p:nvSpPr>
        <p:spPr>
          <a:xfrm>
            <a:off x="2864498" y="2192694"/>
            <a:ext cx="223935" cy="869785"/>
          </a:xfrm>
          <a:prstGeom prst="rightBrac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o-RO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A477623-61E5-45F4-9E20-DD7A6306922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111" t="2288"/>
          <a:stretch/>
        </p:blipFill>
        <p:spPr>
          <a:xfrm>
            <a:off x="3415004" y="2985301"/>
            <a:ext cx="4669884" cy="3872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7381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1430980-3FDB-4815-A825-FE8EA1F9FC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5643" y="6289136"/>
            <a:ext cx="2282372" cy="52387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FEAE19C-7B8E-4771-A1C8-A0982D082D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5872" y="501485"/>
            <a:ext cx="2278128" cy="120353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8CAA28-AD61-4C37-8716-86E61BFA9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FB21AC-CB3B-4874-AC82-090943AE4F9F}" type="slidenum">
              <a:rPr kumimoji="0" lang="ro-RO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o-RO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7BA278F3-C68C-4D73-8505-AB2C9E4C7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8376" y="365126"/>
            <a:ext cx="7516973" cy="869785"/>
          </a:xfrm>
        </p:spPr>
        <p:txBody>
          <a:bodyPr/>
          <a:lstStyle/>
          <a:p>
            <a:r>
              <a:rPr lang="ro-RO" sz="3600" b="1" dirty="0"/>
              <a:t>Aplicații:</a:t>
            </a:r>
            <a:endParaRPr lang="en-US" b="1" noProof="1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ontent Placeholder 15">
                <a:extLst>
                  <a:ext uri="{FF2B5EF4-FFF2-40B4-BE49-F238E27FC236}">
                    <a16:creationId xmlns:a16="http://schemas.microsoft.com/office/drawing/2014/main" id="{164338BC-B87F-417D-9422-8E56694A8189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0" y="1234911"/>
                <a:ext cx="9143999" cy="3775628"/>
              </a:xfrm>
            </p:spPr>
            <p:txBody>
              <a:bodyPr anchor="t">
                <a:noAutofit/>
              </a:bodyPr>
              <a:lstStyle/>
              <a:p>
                <a:pPr marL="0" indent="0">
                  <a:buNone/>
                </a:pPr>
                <a:r>
                  <a:rPr lang="ro-RO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2. Să se construiască circuitul de mai jos în Tina, avâ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l-GR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ro-RO" sz="1800" b="0" i="0" smtClean="0">
                            <a:latin typeface="Cambria Math" panose="02040503050406030204" pitchFamily="18" charset="0"/>
                          </a:rPr>
                          <m:t>R</m:t>
                        </m:r>
                      </m:e>
                      <m:sub>
                        <m:r>
                          <a:rPr lang="ro-RO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ro-RO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=</a:t>
                </a:r>
                <a:r>
                  <a:rPr lang="el-GR" sz="180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l-GR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ro-RO" sz="1800">
                            <a:latin typeface="Cambria Math" panose="02040503050406030204" pitchFamily="18" charset="0"/>
                          </a:rPr>
                          <m:t>R</m:t>
                        </m:r>
                      </m:e>
                      <m:sub>
                        <m:r>
                          <a:rPr lang="ro-RO" sz="18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ro-RO" sz="1800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ro-RO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=100</a:t>
                </a:r>
                <a:r>
                  <a:rPr lang="el-GR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Ω</a:t>
                </a:r>
                <a:r>
                  <a:rPr lang="ro-RO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.</a:t>
                </a:r>
              </a:p>
              <a:p>
                <a:pPr marL="0" indent="0">
                  <a:buNone/>
                </a:pPr>
                <a:r>
                  <a:rPr lang="ro-RO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Se va aplica un semnal sinusoidal având: A =1V, offset=0, f=300Hz,</a:t>
                </a:r>
                <a:r>
                  <a:rPr lang="el-GR" sz="1800" dirty="0"/>
                  <a:t>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 sz="1800"/>
                      <m:t>ϴ</m:t>
                    </m:r>
                  </m:oMath>
                </a14:m>
                <a:r>
                  <a:rPr lang="ro-RO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 = </a:t>
                </a:r>
                <a14:m>
                  <m:oMath xmlns:m="http://schemas.openxmlformats.org/officeDocument/2006/math">
                    <m:r>
                      <a:rPr lang="ro-RO" sz="1800" i="1">
                        <a:latin typeface="Cambria Math" panose="02040503050406030204" pitchFamily="18" charset="0"/>
                      </a:rPr>
                      <m:t>0°</m:t>
                    </m:r>
                    <m:r>
                      <a:rPr lang="ro-RO" sz="1800" b="0" i="0" smtClean="0"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endParaRPr lang="ro-RO" sz="1800" dirty="0"/>
              </a:p>
              <a:p>
                <a:pPr marL="342900" indent="-342900">
                  <a:buFont typeface="Arial" panose="020B0604020202020204" pitchFamily="34" charset="0"/>
                  <a:buAutoNum type="alphaLcPeriod"/>
                </a:pPr>
                <a:r>
                  <a:rPr lang="ro-RO" sz="1800" dirty="0"/>
                  <a:t>Să se vizualizeze semnalele folosind osciloscopul virtual. 				           Ce se poate spune despre parametrul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 sz="1800"/>
                      <m:t>ϴ</m:t>
                    </m:r>
                  </m:oMath>
                </a14:m>
                <a:r>
                  <a:rPr lang="ro-RO" sz="1800" dirty="0"/>
                  <a:t> în acest caz. Există vreo diferență de defazaj întree OUT_R2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l-GR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ro-RO" sz="1800" b="0" i="0" smtClean="0">
                            <a:latin typeface="Cambria Math" panose="02040503050406030204" pitchFamily="18" charset="0"/>
                          </a:rPr>
                          <m:t>u</m:t>
                        </m:r>
                      </m:e>
                      <m:sub>
                        <m:r>
                          <a:rPr lang="ro-RO" sz="1800" b="0" i="1" smtClean="0">
                            <a:latin typeface="Cambria Math" panose="02040503050406030204" pitchFamily="18" charset="0"/>
                          </a:rPr>
                          <m:t>𝑅</m:t>
                        </m:r>
                        <m:r>
                          <a:rPr lang="ro-RO" sz="18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ro-RO" sz="18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ro-RO" sz="1800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ro-RO" sz="1800" b="0" i="1" smtClean="0">
                        <a:latin typeface="Cambria Math" panose="02040503050406030204" pitchFamily="18" charset="0"/>
                      </a:rPr>
                      <m:t>))</m:t>
                    </m:r>
                  </m:oMath>
                </a14:m>
                <a:r>
                  <a:rPr lang="ro-RO" sz="1800" dirty="0"/>
                  <a:t> și VM1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l-GR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ro-RO" sz="1800">
                            <a:latin typeface="Cambria Math" panose="02040503050406030204" pitchFamily="18" charset="0"/>
                          </a:rPr>
                          <m:t>u</m:t>
                        </m:r>
                      </m:e>
                      <m:sub>
                        <m:r>
                          <a:rPr lang="ro-RO" sz="1800" i="1">
                            <a:latin typeface="Cambria Math" panose="02040503050406030204" pitchFamily="18" charset="0"/>
                          </a:rPr>
                          <m:t>𝑅</m:t>
                        </m:r>
                        <m:r>
                          <a:rPr lang="ro-RO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ro-RO" sz="1800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ro-RO" sz="1800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ro-RO" sz="1800" i="1">
                        <a:latin typeface="Cambria Math" panose="02040503050406030204" pitchFamily="18" charset="0"/>
                      </a:rPr>
                      <m:t>))</m:t>
                    </m:r>
                  </m:oMath>
                </a14:m>
                <a:r>
                  <a:rPr lang="ro-RO" sz="1800" dirty="0"/>
                  <a:t>?								 </a:t>
                </a:r>
              </a:p>
              <a:p>
                <a:pPr marL="342900" indent="-342900">
                  <a:buFont typeface="Arial" panose="020B0604020202020204" pitchFamily="34" charset="0"/>
                  <a:buAutoNum type="alphaLcPeriod"/>
                </a:pPr>
                <a:r>
                  <a:rPr lang="ro-RO" sz="1800" dirty="0"/>
                  <a:t>Să se măsoare cu multimetrul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l-GR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ro-RO" sz="1800">
                            <a:latin typeface="Cambria Math" panose="02040503050406030204" pitchFamily="18" charset="0"/>
                          </a:rPr>
                          <m:t>X</m:t>
                        </m:r>
                      </m:e>
                      <m:sub>
                        <m:r>
                          <a:rPr lang="ro-RO" sz="1800" i="1">
                            <a:latin typeface="Cambria Math" panose="02040503050406030204" pitchFamily="18" charset="0"/>
                          </a:rPr>
                          <m:t>𝑟𝑚𝑠</m:t>
                        </m:r>
                      </m:sub>
                    </m:sSub>
                  </m:oMath>
                </a14:m>
                <a:r>
                  <a:rPr lang="ro-RO" sz="1800" dirty="0"/>
                  <a:t> pentru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l-GR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ro-RO" sz="1800">
                            <a:latin typeface="Cambria Math" panose="02040503050406030204" pitchFamily="18" charset="0"/>
                          </a:rPr>
                          <m:t>R</m:t>
                        </m:r>
                      </m:e>
                      <m:sub>
                        <m:r>
                          <a:rPr lang="ro-RO" sz="1800" i="1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ro-RO" sz="1800" i="1"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endParaRPr lang="ro-RO" sz="18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endParaRPr lang="ro-RO" sz="18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2" name="Content Placeholder 15">
                <a:extLst>
                  <a:ext uri="{FF2B5EF4-FFF2-40B4-BE49-F238E27FC236}">
                    <a16:creationId xmlns:a16="http://schemas.microsoft.com/office/drawing/2014/main" id="{164338BC-B87F-417D-9422-8E56694A818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0" y="1234911"/>
                <a:ext cx="9143999" cy="3775628"/>
              </a:xfrm>
              <a:blipFill>
                <a:blip r:embed="rId5"/>
                <a:stretch>
                  <a:fillRect l="-533" t="-1777"/>
                </a:stretch>
              </a:blipFill>
            </p:spPr>
            <p:txBody>
              <a:bodyPr/>
              <a:lstStyle/>
              <a:p>
                <a:r>
                  <a:rPr lang="ro-RO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Picture 8">
            <a:extLst>
              <a:ext uri="{FF2B5EF4-FFF2-40B4-BE49-F238E27FC236}">
                <a16:creationId xmlns:a16="http://schemas.microsoft.com/office/drawing/2014/main" id="{8C92CE05-044C-44BA-B4FB-EA57A2B068E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1853" r="71781" b="38214"/>
          <a:stretch/>
        </p:blipFill>
        <p:spPr>
          <a:xfrm>
            <a:off x="2068282" y="3288306"/>
            <a:ext cx="3325798" cy="338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1209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1430980-3FDB-4815-A825-FE8EA1F9FC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5643" y="6289136"/>
            <a:ext cx="2282372" cy="52387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FEAE19C-7B8E-4771-A1C8-A0982D082D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65872" y="501485"/>
            <a:ext cx="2278128" cy="120353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8CAA28-AD61-4C37-8716-86E61BFA9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FB21AC-CB3B-4874-AC82-090943AE4F9F}" type="slidenum">
              <a:rPr kumimoji="0" lang="ro-RO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o-RO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7BA278F3-C68C-4D73-8505-AB2C9E4C7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8376" y="365126"/>
            <a:ext cx="7516973" cy="869785"/>
          </a:xfrm>
        </p:spPr>
        <p:txBody>
          <a:bodyPr/>
          <a:lstStyle/>
          <a:p>
            <a:r>
              <a:rPr lang="ro-RO" sz="3600" b="1" dirty="0"/>
              <a:t>Aplicații: - soluție</a:t>
            </a:r>
            <a:endParaRPr lang="en-US" b="1" noProof="1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2" name="Content Placeholder 15">
                <a:extLst>
                  <a:ext uri="{FF2B5EF4-FFF2-40B4-BE49-F238E27FC236}">
                    <a16:creationId xmlns:a16="http://schemas.microsoft.com/office/drawing/2014/main" id="{164338BC-B87F-417D-9422-8E56694A8189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0" y="1234911"/>
                <a:ext cx="9143999" cy="2643670"/>
              </a:xfrm>
            </p:spPr>
            <p:txBody>
              <a:bodyPr anchor="t">
                <a:noAutofit/>
              </a:bodyPr>
              <a:lstStyle/>
              <a:p>
                <a:pPr marL="342900" indent="-342900">
                  <a:buFont typeface="+mj-lt"/>
                  <a:buAutoNum type="alphaLcPeriod"/>
                </a:pPr>
                <a:r>
                  <a:rPr lang="ro-RO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Nu există nicio diferență diferență de defazaj între OUT_R2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l-GR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ro-RO" sz="1600"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m:t>u</m:t>
                        </m:r>
                      </m:e>
                      <m:sub>
                        <m:r>
                          <a:rPr lang="ro-RO" sz="1600" i="1">
                            <a:latin typeface="Cambria Math" panose="02040503050406030204" pitchFamily="18" charset="0"/>
                          </a:rPr>
                          <m:t>𝑅</m:t>
                        </m:r>
                        <m:r>
                          <a:rPr lang="ro-RO" sz="1600" i="1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ro-RO" sz="1600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ro-RO" sz="1600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ro-RO" sz="1600" i="1">
                        <a:latin typeface="Cambria Math" panose="02040503050406030204" pitchFamily="18" charset="0"/>
                      </a:rPr>
                      <m:t>))</m:t>
                    </m:r>
                  </m:oMath>
                </a14:m>
                <a:r>
                  <a:rPr lang="ro-RO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 și VM1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l-GR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ro-RO" sz="1600"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m:t>u</m:t>
                        </m:r>
                      </m:e>
                      <m:sub>
                        <m:r>
                          <a:rPr lang="ro-RO" sz="1600" i="1">
                            <a:latin typeface="Cambria Math" panose="02040503050406030204" pitchFamily="18" charset="0"/>
                          </a:rPr>
                          <m:t>𝑅</m:t>
                        </m:r>
                        <m:r>
                          <a:rPr lang="ro-RO" sz="1600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ro-RO" sz="1600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ro-RO" sz="1600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ro-RO" sz="1600" i="1">
                        <a:latin typeface="Cambria Math" panose="02040503050406030204" pitchFamily="18" charset="0"/>
                      </a:rPr>
                      <m:t>))</m:t>
                    </m:r>
                  </m:oMath>
                </a14:m>
                <a:r>
                  <a:rPr lang="ro-RO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. 	    Așadar R</a:t>
                </a:r>
                <a:r>
                  <a:rPr lang="ro-RO" sz="1600" dirty="0">
                    <a:latin typeface="Arial" panose="020B0604020202020204" pitchFamily="34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ro-RO" sz="160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f>
                      <m:fPr>
                        <m:ctrlP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𝑈</m:t>
                        </m:r>
                      </m:num>
                      <m:den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𝐼</m:t>
                        </m:r>
                      </m:den>
                    </m:f>
                  </m:oMath>
                </a14:m>
                <a:r>
                  <a:rPr lang="ro-RO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, este o valoare reală și nu depinde de frecvența semnalului de intrare, de aceea semnalele sunt în fază.</a:t>
                </a:r>
              </a:p>
              <a:p>
                <a:pPr marL="342900" indent="-342900">
                  <a:buFont typeface="+mj-lt"/>
                  <a:buAutoNum type="alphaLcPeriod"/>
                </a:pPr>
                <a:r>
                  <a:rPr lang="ro-RO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La intrar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l-GR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ro-RO" sz="1600"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m:t>X</m:t>
                        </m:r>
                      </m:e>
                      <m:sub>
                        <m:r>
                          <a:rPr lang="ro-RO" sz="1600" i="1">
                            <a:latin typeface="Cambria Math" panose="02040503050406030204" pitchFamily="18" charset="0"/>
                          </a:rPr>
                          <m:t>𝑟𝑚𝑠</m:t>
                        </m:r>
                      </m:sub>
                    </m:sSub>
                    <m:r>
                      <a:rPr lang="ro-RO" sz="1600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…..</m:t>
                    </m:r>
                    <m:r>
                      <a:rPr lang="ro-RO" sz="1600" i="1" smtClean="0">
                        <a:latin typeface="Cambria Math" panose="02040503050406030204" pitchFamily="18" charset="0"/>
                      </a:rPr>
                      <m:t>𝑉</m:t>
                    </m:r>
                  </m:oMath>
                </a14:m>
                <a:r>
                  <a:rPr lang="ro-RO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l-GR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ro-RO" sz="1600"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m:t>X</m:t>
                        </m:r>
                      </m:e>
                      <m:sub>
                        <m:r>
                          <a:rPr lang="ro-RO" sz="1600" i="1">
                            <a:latin typeface="Cambria Math" panose="02040503050406030204" pitchFamily="18" charset="0"/>
                          </a:rPr>
                          <m:t>𝑟𝑚𝑠</m:t>
                        </m:r>
                        <m:r>
                          <a:rPr lang="ro-RO" sz="1600" i="1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ro-RO" sz="1600" i="1">
                            <a:latin typeface="Cambria Math" panose="02040503050406030204" pitchFamily="18" charset="0"/>
                          </a:rPr>
                          <m:t>𝑅</m:t>
                        </m:r>
                        <m:r>
                          <a:rPr lang="ro-RO" sz="1600" i="1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ro-RO" sz="1600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≅</m:t>
                    </m:r>
                    <m:r>
                      <a:rPr lang="en-US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….</m:t>
                    </m:r>
                    <m:r>
                      <a:rPr lang="ro-RO" sz="1600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𝑚𝑉</m:t>
                    </m:r>
                  </m:oMath>
                </a14:m>
                <a:r>
                  <a:rPr lang="en-US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.</a:t>
                </a:r>
                <a:endParaRPr lang="ro-RO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endParaRPr lang="ro-RO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>
          <p:sp>
            <p:nvSpPr>
              <p:cNvPr id="12" name="Content Placeholder 15">
                <a:extLst>
                  <a:ext uri="{FF2B5EF4-FFF2-40B4-BE49-F238E27FC236}">
                    <a16:creationId xmlns:a16="http://schemas.microsoft.com/office/drawing/2014/main" id="{164338BC-B87F-417D-9422-8E56694A818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0" y="1234911"/>
                <a:ext cx="9143999" cy="2643670"/>
              </a:xfrm>
              <a:blipFill>
                <a:blip r:embed="rId6"/>
                <a:stretch>
                  <a:fillRect l="-267" t="-161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4">
            <a:extLst>
              <a:ext uri="{FF2B5EF4-FFF2-40B4-BE49-F238E27FC236}">
                <a16:creationId xmlns:a16="http://schemas.microsoft.com/office/drawing/2014/main" id="{80263E9D-FF75-4EE6-A00F-E52C1652F2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4029" y="2438450"/>
            <a:ext cx="8005665" cy="3924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785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AuXw2lZ21DvIXSVtXhFZUFAAAAAAADAAAAAAADAAAAAwADAAEA////////BAAAAAMAEAALTUtEowNeVESHvYLrniyWe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KAuXw2lZ21DvIXSVtXhFZUDRGF0YQAbAAAABExpbmtlZFNoYXBlRGF0YQAFAAAAAAACTmFtZQAZAAAATGlua2VkU2hhcGVzRGF0YVByb3BlcnR5ABBWZXJzaW9uAAAAAAAJTGFzdFdyaXRlAJCkuKyHAQAAAAEA/////50AnQAAAAVfaWQAEAAAAARNS0SjA15URIe9guueLJZ4A0RhdGEAKgAAAAhQcmVzZW50YXRpb25TY2FubmVkRm9yTGlua2VkU2hhcGVzAAEAAk5hbWUAJAAAAExpbmtlZFNoYXBlUHJlc2VudGF0aW9uU2V0dGluZ3NEYXRhABBWZXJzaW9uAAAAAAAJTGFzdFdyaXRlAAOluKyH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CF5A3CFCC40B349BC2B5C10F1471309" ma:contentTypeVersion="7" ma:contentTypeDescription="Create a new document." ma:contentTypeScope="" ma:versionID="f4062d20b9e7ae9a8ab4d126842aa8ac">
  <xsd:schema xmlns:xsd="http://www.w3.org/2001/XMLSchema" xmlns:xs="http://www.w3.org/2001/XMLSchema" xmlns:p="http://schemas.microsoft.com/office/2006/metadata/properties" xmlns:ns3="b12a351b-a2e6-44ce-8bd6-8c3d80bc7e18" targetNamespace="http://schemas.microsoft.com/office/2006/metadata/properties" ma:root="true" ma:fieldsID="bbb3880e11db045927db536b28b41d8a" ns3:_="">
    <xsd:import namespace="b12a351b-a2e6-44ce-8bd6-8c3d80bc7e1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2a351b-a2e6-44ce-8bd6-8c3d80bc7e1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EFECB8C-7585-4CF1-A074-F9E384BC37A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D2C53C5-8076-4A91-86DB-6A3A8B78639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2a351b-a2e6-44ce-8bd6-8c3d80bc7e1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EE05C71-AE56-475A-B06B-3A5B47FB4DC9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b12a351b-a2e6-44ce-8bd6-8c3d80bc7e18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contentBits="2" removed="0"/>
  <clbl:label id="{d546e5e1-5d42-4630-bacd-c69bfdcbd5e8}" enabled="1" method="Standard" siteId="{96ece526-9c7d-48b0-8daf-8b93c90a5d18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75</Words>
  <Application>Microsoft Office PowerPoint</Application>
  <PresentationFormat>On-screen Show (4:3)</PresentationFormat>
  <Paragraphs>81</Paragraphs>
  <Slides>9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Calibri Light</vt:lpstr>
      <vt:lpstr>Cambria Math</vt:lpstr>
      <vt:lpstr>Office Theme</vt:lpstr>
      <vt:lpstr>Dispozitive Electronice și Măsurări    Osciloscopul digital – partea 1  </vt:lpstr>
      <vt:lpstr>Osciloscopul:</vt:lpstr>
      <vt:lpstr>Osciloscopul:</vt:lpstr>
      <vt:lpstr>PowerPoint Presentation</vt:lpstr>
      <vt:lpstr>PowerPoint Presentation</vt:lpstr>
      <vt:lpstr>Aplicații:</vt:lpstr>
      <vt:lpstr>Aplicații: - soluție</vt:lpstr>
      <vt:lpstr>Aplicații:</vt:lpstr>
      <vt:lpstr>Aplicații: - soluț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incipii, Tehnici și Dispozitive de Măsurare    Osciloscopul digital – partea 1  </dc:title>
  <dc:creator/>
  <cp:lastModifiedBy>Pescari, Catalin02</cp:lastModifiedBy>
  <cp:revision>35</cp:revision>
  <dcterms:created xsi:type="dcterms:W3CDTF">2020-11-01T08:49:17Z</dcterms:created>
  <dcterms:modified xsi:type="dcterms:W3CDTF">2024-04-14T07:05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546e5e1-5d42-4630-bacd-c69bfdcbd5e8_Enabled">
    <vt:lpwstr>true</vt:lpwstr>
  </property>
  <property fmtid="{D5CDD505-2E9C-101B-9397-08002B2CF9AE}" pid="3" name="MSIP_Label_d546e5e1-5d42-4630-bacd-c69bfdcbd5e8_SetDate">
    <vt:lpwstr>2020-11-01T13:20:54Z</vt:lpwstr>
  </property>
  <property fmtid="{D5CDD505-2E9C-101B-9397-08002B2CF9AE}" pid="4" name="MSIP_Label_d546e5e1-5d42-4630-bacd-c69bfdcbd5e8_Method">
    <vt:lpwstr>Standard</vt:lpwstr>
  </property>
  <property fmtid="{D5CDD505-2E9C-101B-9397-08002B2CF9AE}" pid="5" name="MSIP_Label_d546e5e1-5d42-4630-bacd-c69bfdcbd5e8_Name">
    <vt:lpwstr>d546e5e1-5d42-4630-bacd-c69bfdcbd5e8</vt:lpwstr>
  </property>
  <property fmtid="{D5CDD505-2E9C-101B-9397-08002B2CF9AE}" pid="6" name="MSIP_Label_d546e5e1-5d42-4630-bacd-c69bfdcbd5e8_SiteId">
    <vt:lpwstr>96ece526-9c7d-48b0-8daf-8b93c90a5d18</vt:lpwstr>
  </property>
  <property fmtid="{D5CDD505-2E9C-101B-9397-08002B2CF9AE}" pid="7" name="MSIP_Label_d546e5e1-5d42-4630-bacd-c69bfdcbd5e8_ActionId">
    <vt:lpwstr>f9f27602-6329-4c67-9b27-99f9de8d7149</vt:lpwstr>
  </property>
  <property fmtid="{D5CDD505-2E9C-101B-9397-08002B2CF9AE}" pid="8" name="MSIP_Label_d546e5e1-5d42-4630-bacd-c69bfdcbd5e8_ContentBits">
    <vt:lpwstr>0</vt:lpwstr>
  </property>
  <property fmtid="{D5CDD505-2E9C-101B-9397-08002B2CF9AE}" pid="9" name="SmartTag">
    <vt:lpwstr>4</vt:lpwstr>
  </property>
  <property fmtid="{D5CDD505-2E9C-101B-9397-08002B2CF9AE}" pid="10" name="ClassificationContentMarkingFooterLocations">
    <vt:lpwstr>Office Theme:8</vt:lpwstr>
  </property>
  <property fmtid="{D5CDD505-2E9C-101B-9397-08002B2CF9AE}" pid="11" name="ClassificationContentMarkingFooterText">
    <vt:lpwstr>Internal</vt:lpwstr>
  </property>
</Properties>
</file>